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1"/>
  </p:sldMasterIdLst>
  <p:notesMasterIdLst>
    <p:notesMasterId r:id="rId20"/>
  </p:notesMasterIdLst>
  <p:sldIdLst>
    <p:sldId id="256" r:id="rId2"/>
    <p:sldId id="263" r:id="rId3"/>
    <p:sldId id="266" r:id="rId4"/>
    <p:sldId id="267" r:id="rId5"/>
    <p:sldId id="268" r:id="rId6"/>
    <p:sldId id="269" r:id="rId7"/>
    <p:sldId id="286" r:id="rId8"/>
    <p:sldId id="275" r:id="rId9"/>
    <p:sldId id="284" r:id="rId10"/>
    <p:sldId id="285" r:id="rId11"/>
    <p:sldId id="261" r:id="rId12"/>
    <p:sldId id="276" r:id="rId13"/>
    <p:sldId id="273" r:id="rId14"/>
    <p:sldId id="281" r:id="rId15"/>
    <p:sldId id="283" r:id="rId16"/>
    <p:sldId id="282" r:id="rId17"/>
    <p:sldId id="280" r:id="rId18"/>
    <p:sldId id="288" r:id="rId1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D900"/>
    <a:srgbClr val="1E62B5"/>
    <a:srgbClr val="0000FF"/>
    <a:srgbClr val="0A60CA"/>
    <a:srgbClr val="FFC600"/>
    <a:srgbClr val="E7FFE2"/>
    <a:srgbClr val="CAE2FB"/>
    <a:srgbClr val="117D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60" d="100"/>
          <a:sy n="60" d="100"/>
        </p:scale>
        <p:origin x="-1842" y="-6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0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3DA6DC-D6C1-4855-98F2-D1AD58939C5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FDBCD034-B03F-4F60-BADF-2CA55F34B3C1}">
      <dgm:prSet phldrT="[Texto]" custT="1"/>
      <dgm:spPr>
        <a:solidFill>
          <a:schemeClr val="bg1"/>
        </a:solidFill>
      </dgm:spPr>
      <dgm:t>
        <a:bodyPr/>
        <a:lstStyle/>
        <a:p>
          <a:pPr algn="ctr"/>
          <a:r>
            <a:rPr lang="pt-BR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lanejamento</a:t>
          </a:r>
          <a:endParaRPr lang="pt-BR" sz="16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0A7FC45-5621-4244-B64B-0576B140B990}" type="parTrans" cxnId="{473D3208-E0B0-4888-87A1-CC53292C8268}">
      <dgm:prSet/>
      <dgm:spPr/>
      <dgm:t>
        <a:bodyPr/>
        <a:lstStyle/>
        <a:p>
          <a:endParaRPr lang="pt-BR"/>
        </a:p>
      </dgm:t>
    </dgm:pt>
    <dgm:pt modelId="{EDF9129A-3CC8-4CCA-A4C8-24C9C48C6776}" type="sibTrans" cxnId="{473D3208-E0B0-4888-87A1-CC53292C8268}">
      <dgm:prSet/>
      <dgm:spPr/>
      <dgm:t>
        <a:bodyPr/>
        <a:lstStyle/>
        <a:p>
          <a:endParaRPr lang="pt-BR"/>
        </a:p>
      </dgm:t>
    </dgm:pt>
    <dgm:pt modelId="{7A7D2F52-AC5D-4407-BE11-4A48D2A80202}">
      <dgm:prSet phldrT="[Texto]" custT="1"/>
      <dgm:spPr>
        <a:solidFill>
          <a:schemeClr val="bg1"/>
        </a:solidFill>
      </dgm:spPr>
      <dgm:t>
        <a:bodyPr/>
        <a:lstStyle/>
        <a:p>
          <a:r>
            <a:rPr lang="pt-BR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peamento da Situação Atual </a:t>
          </a:r>
          <a:endParaRPr lang="pt-BR" sz="16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7CDE9E0-3FB3-493D-A510-6EF042C5D108}" type="parTrans" cxnId="{8B8692B9-5633-41D5-952E-9BC427AEE427}">
      <dgm:prSet/>
      <dgm:spPr/>
      <dgm:t>
        <a:bodyPr/>
        <a:lstStyle/>
        <a:p>
          <a:endParaRPr lang="pt-BR"/>
        </a:p>
      </dgm:t>
    </dgm:pt>
    <dgm:pt modelId="{D1C8DD55-1F45-4495-89F3-F041B03CC1CF}" type="sibTrans" cxnId="{8B8692B9-5633-41D5-952E-9BC427AEE427}">
      <dgm:prSet/>
      <dgm:spPr/>
      <dgm:t>
        <a:bodyPr/>
        <a:lstStyle/>
        <a:p>
          <a:endParaRPr lang="pt-BR"/>
        </a:p>
      </dgm:t>
    </dgm:pt>
    <dgm:pt modelId="{E4AA476E-920F-4605-BCB1-238E590CD72F}">
      <dgm:prSet phldrT="[Texto]" custT="1"/>
      <dgm:spPr>
        <a:solidFill>
          <a:schemeClr val="bg1"/>
        </a:solidFill>
      </dgm:spPr>
      <dgm:t>
        <a:bodyPr/>
        <a:lstStyle/>
        <a:p>
          <a:r>
            <a:rPr lang="pt-BR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dentificação  de lacunas : Situação atual e futura </a:t>
          </a:r>
          <a:endParaRPr lang="pt-BR" sz="16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582D8E5-CB10-46B8-A822-95F07D68758E}" type="parTrans" cxnId="{6EE7BE49-C455-4612-A1DA-AEEEA7C6A5AF}">
      <dgm:prSet/>
      <dgm:spPr/>
      <dgm:t>
        <a:bodyPr/>
        <a:lstStyle/>
        <a:p>
          <a:endParaRPr lang="pt-BR"/>
        </a:p>
      </dgm:t>
    </dgm:pt>
    <dgm:pt modelId="{4EF85F54-620C-4937-B5FE-9B66268C2E2E}" type="sibTrans" cxnId="{6EE7BE49-C455-4612-A1DA-AEEEA7C6A5AF}">
      <dgm:prSet/>
      <dgm:spPr/>
      <dgm:t>
        <a:bodyPr/>
        <a:lstStyle/>
        <a:p>
          <a:endParaRPr lang="pt-BR"/>
        </a:p>
      </dgm:t>
    </dgm:pt>
    <dgm:pt modelId="{1CD61AF4-017F-4A52-90D6-147D1D2E0716}">
      <dgm:prSet custT="1"/>
      <dgm:spPr>
        <a:solidFill>
          <a:schemeClr val="bg1"/>
        </a:solidFill>
      </dgm:spPr>
      <dgm:t>
        <a:bodyPr/>
        <a:lstStyle/>
        <a:p>
          <a:r>
            <a:rPr lang="pt-BR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esenho do Modelo Futuro</a:t>
          </a:r>
          <a:endParaRPr lang="pt-BR" sz="16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34D2F12-13B0-41AE-82B5-F715BBC2025C}" type="parTrans" cxnId="{7023C172-C94B-4F85-A737-A848103CF9A6}">
      <dgm:prSet/>
      <dgm:spPr/>
      <dgm:t>
        <a:bodyPr/>
        <a:lstStyle/>
        <a:p>
          <a:endParaRPr lang="pt-BR"/>
        </a:p>
      </dgm:t>
    </dgm:pt>
    <dgm:pt modelId="{4711EC7A-5273-4DB4-971A-15B4806C9E69}" type="sibTrans" cxnId="{7023C172-C94B-4F85-A737-A848103CF9A6}">
      <dgm:prSet/>
      <dgm:spPr/>
      <dgm:t>
        <a:bodyPr/>
        <a:lstStyle/>
        <a:p>
          <a:endParaRPr lang="pt-BR"/>
        </a:p>
      </dgm:t>
    </dgm:pt>
    <dgm:pt modelId="{CC4CB407-A38A-47E9-A239-85A92F400731}">
      <dgm:prSet custT="1"/>
      <dgm:spPr>
        <a:solidFill>
          <a:schemeClr val="bg1"/>
        </a:solidFill>
      </dgm:spPr>
      <dgm:t>
        <a:bodyPr/>
        <a:lstStyle/>
        <a:p>
          <a:pPr>
            <a:lnSpc>
              <a:spcPct val="100000"/>
            </a:lnSpc>
          </a:pPr>
          <a:r>
            <a:rPr lang="pt-BR" sz="1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laboração de Requerimentos Funcionais </a:t>
          </a:r>
          <a:endParaRPr lang="pt-BR" sz="16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39369A0-6FB2-4EF5-BA96-5CB8CF599083}" type="parTrans" cxnId="{F8201BCD-2F9C-4C31-98DB-C2A940CBCED1}">
      <dgm:prSet/>
      <dgm:spPr/>
      <dgm:t>
        <a:bodyPr/>
        <a:lstStyle/>
        <a:p>
          <a:endParaRPr lang="pt-BR"/>
        </a:p>
      </dgm:t>
    </dgm:pt>
    <dgm:pt modelId="{EFB7DAC5-7FDB-43C8-86C4-40BB1D2F1E23}" type="sibTrans" cxnId="{F8201BCD-2F9C-4C31-98DB-C2A940CBCED1}">
      <dgm:prSet/>
      <dgm:spPr/>
      <dgm:t>
        <a:bodyPr/>
        <a:lstStyle/>
        <a:p>
          <a:endParaRPr lang="pt-BR"/>
        </a:p>
      </dgm:t>
    </dgm:pt>
    <dgm:pt modelId="{FDB4FB1B-B153-4C8F-BF6D-1D02D55509AB}" type="pres">
      <dgm:prSet presAssocID="{1D3DA6DC-D6C1-4855-98F2-D1AD58939C57}" presName="CompostProcess" presStyleCnt="0">
        <dgm:presLayoutVars>
          <dgm:dir/>
          <dgm:resizeHandles val="exact"/>
        </dgm:presLayoutVars>
      </dgm:prSet>
      <dgm:spPr/>
    </dgm:pt>
    <dgm:pt modelId="{1BDF9CD8-359F-4F98-A320-D19166E34896}" type="pres">
      <dgm:prSet presAssocID="{1D3DA6DC-D6C1-4855-98F2-D1AD58939C57}" presName="arrow" presStyleLbl="bgShp" presStyleIdx="0" presStyleCnt="1" custScaleX="117647" custLinFactNeighborY="-482"/>
      <dgm:spPr>
        <a:solidFill>
          <a:srgbClr val="00B050"/>
        </a:solidFill>
      </dgm:spPr>
      <dgm:t>
        <a:bodyPr/>
        <a:lstStyle/>
        <a:p>
          <a:endParaRPr lang="pt-BR"/>
        </a:p>
      </dgm:t>
    </dgm:pt>
    <dgm:pt modelId="{BB4CFEBA-7888-4A63-A283-7B6674BC1DAA}" type="pres">
      <dgm:prSet presAssocID="{1D3DA6DC-D6C1-4855-98F2-D1AD58939C57}" presName="linearProcess" presStyleCnt="0"/>
      <dgm:spPr/>
    </dgm:pt>
    <dgm:pt modelId="{C71D1AF7-8748-4E69-A972-59E99158550D}" type="pres">
      <dgm:prSet presAssocID="{FDBCD034-B03F-4F60-BADF-2CA55F34B3C1}" presName="textNode" presStyleLbl="node1" presStyleIdx="0" presStyleCnt="5" custScaleX="114651" custLinFactNeighborX="-33140" custLinFactNeighborY="417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FED7A1A-0071-42B7-B5CB-BFF17C950DBC}" type="pres">
      <dgm:prSet presAssocID="{EDF9129A-3CC8-4CCA-A4C8-24C9C48C6776}" presName="sibTrans" presStyleCnt="0"/>
      <dgm:spPr/>
    </dgm:pt>
    <dgm:pt modelId="{84C1E143-4364-4EDD-AEEE-F17C2948AD9E}" type="pres">
      <dgm:prSet presAssocID="{7A7D2F52-AC5D-4407-BE11-4A48D2A80202}" presName="textNode" presStyleLbl="node1" presStyleIdx="1" presStyleCnt="5" custScaleX="99814" custLinFactX="-383" custLinFactNeighborX="-100000" custLinFactNeighborY="345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58A538B-66DD-4A8C-8009-3E00AA0BDEAF}" type="pres">
      <dgm:prSet presAssocID="{D1C8DD55-1F45-4495-89F3-F041B03CC1CF}" presName="sibTrans" presStyleCnt="0"/>
      <dgm:spPr/>
    </dgm:pt>
    <dgm:pt modelId="{349699C5-08C7-4AC5-9890-762FD01F0790}" type="pres">
      <dgm:prSet presAssocID="{E4AA476E-920F-4605-BCB1-238E590CD72F}" presName="textNode" presStyleLbl="node1" presStyleIdx="2" presStyleCnt="5" custScaleX="99749" custLinFactX="-12659" custLinFactNeighborX="-100000" custLinFactNeighborY="334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E7510F9-2F3E-4087-80B2-088148FCBED8}" type="pres">
      <dgm:prSet presAssocID="{4EF85F54-620C-4937-B5FE-9B66268C2E2E}" presName="sibTrans" presStyleCnt="0"/>
      <dgm:spPr/>
    </dgm:pt>
    <dgm:pt modelId="{F828F700-BB67-40A5-AA13-4AF305827CE1}" type="pres">
      <dgm:prSet presAssocID="{1CD61AF4-017F-4A52-90D6-147D1D2E0716}" presName="textNode" presStyleLbl="node1" presStyleIdx="3" presStyleCnt="5" custScaleX="85394" custLinFactX="-24164" custLinFactNeighborX="-100000" custLinFactNeighborY="334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B1FB0E1-3DBC-4A46-BF50-FAE59E76428D}" type="pres">
      <dgm:prSet presAssocID="{4711EC7A-5273-4DB4-971A-15B4806C9E69}" presName="sibTrans" presStyleCnt="0"/>
      <dgm:spPr/>
    </dgm:pt>
    <dgm:pt modelId="{F33F1B1F-C652-4BB5-ADE7-2A6E9FB32225}" type="pres">
      <dgm:prSet presAssocID="{CC4CB407-A38A-47E9-A239-85A92F400731}" presName="textNode" presStyleLbl="node1" presStyleIdx="4" presStyleCnt="5" custScaleX="117501" custLinFactX="-34414" custLinFactNeighborX="-100000" custLinFactNeighborY="3345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7023C172-C94B-4F85-A737-A848103CF9A6}" srcId="{1D3DA6DC-D6C1-4855-98F2-D1AD58939C57}" destId="{1CD61AF4-017F-4A52-90D6-147D1D2E0716}" srcOrd="3" destOrd="0" parTransId="{234D2F12-13B0-41AE-82B5-F715BBC2025C}" sibTransId="{4711EC7A-5273-4DB4-971A-15B4806C9E69}"/>
    <dgm:cxn modelId="{8B8692B9-5633-41D5-952E-9BC427AEE427}" srcId="{1D3DA6DC-D6C1-4855-98F2-D1AD58939C57}" destId="{7A7D2F52-AC5D-4407-BE11-4A48D2A80202}" srcOrd="1" destOrd="0" parTransId="{27CDE9E0-3FB3-493D-A510-6EF042C5D108}" sibTransId="{D1C8DD55-1F45-4495-89F3-F041B03CC1CF}"/>
    <dgm:cxn modelId="{04F0BEE7-8622-41D1-B5FA-89187413A919}" type="presOf" srcId="{FDBCD034-B03F-4F60-BADF-2CA55F34B3C1}" destId="{C71D1AF7-8748-4E69-A972-59E99158550D}" srcOrd="0" destOrd="0" presId="urn:microsoft.com/office/officeart/2005/8/layout/hProcess9"/>
    <dgm:cxn modelId="{3B161AE3-BAAF-454E-B616-408546B52241}" type="presOf" srcId="{CC4CB407-A38A-47E9-A239-85A92F400731}" destId="{F33F1B1F-C652-4BB5-ADE7-2A6E9FB32225}" srcOrd="0" destOrd="0" presId="urn:microsoft.com/office/officeart/2005/8/layout/hProcess9"/>
    <dgm:cxn modelId="{473D3208-E0B0-4888-87A1-CC53292C8268}" srcId="{1D3DA6DC-D6C1-4855-98F2-D1AD58939C57}" destId="{FDBCD034-B03F-4F60-BADF-2CA55F34B3C1}" srcOrd="0" destOrd="0" parTransId="{50A7FC45-5621-4244-B64B-0576B140B990}" sibTransId="{EDF9129A-3CC8-4CCA-A4C8-24C9C48C6776}"/>
    <dgm:cxn modelId="{F4DDAD8A-CD6E-4827-B9B7-847587E94FE9}" type="presOf" srcId="{7A7D2F52-AC5D-4407-BE11-4A48D2A80202}" destId="{84C1E143-4364-4EDD-AEEE-F17C2948AD9E}" srcOrd="0" destOrd="0" presId="urn:microsoft.com/office/officeart/2005/8/layout/hProcess9"/>
    <dgm:cxn modelId="{F8201BCD-2F9C-4C31-98DB-C2A940CBCED1}" srcId="{1D3DA6DC-D6C1-4855-98F2-D1AD58939C57}" destId="{CC4CB407-A38A-47E9-A239-85A92F400731}" srcOrd="4" destOrd="0" parTransId="{139369A0-6FB2-4EF5-BA96-5CB8CF599083}" sibTransId="{EFB7DAC5-7FDB-43C8-86C4-40BB1D2F1E23}"/>
    <dgm:cxn modelId="{4B4803F8-6819-44D3-B45A-381C2563F43E}" type="presOf" srcId="{1D3DA6DC-D6C1-4855-98F2-D1AD58939C57}" destId="{FDB4FB1B-B153-4C8F-BF6D-1D02D55509AB}" srcOrd="0" destOrd="0" presId="urn:microsoft.com/office/officeart/2005/8/layout/hProcess9"/>
    <dgm:cxn modelId="{3CF55FE2-5D91-495D-89E6-0782AB0BB3D8}" type="presOf" srcId="{E4AA476E-920F-4605-BCB1-238E590CD72F}" destId="{349699C5-08C7-4AC5-9890-762FD01F0790}" srcOrd="0" destOrd="0" presId="urn:microsoft.com/office/officeart/2005/8/layout/hProcess9"/>
    <dgm:cxn modelId="{2157E99F-5965-4AAA-8F74-848BA38D33BB}" type="presOf" srcId="{1CD61AF4-017F-4A52-90D6-147D1D2E0716}" destId="{F828F700-BB67-40A5-AA13-4AF305827CE1}" srcOrd="0" destOrd="0" presId="urn:microsoft.com/office/officeart/2005/8/layout/hProcess9"/>
    <dgm:cxn modelId="{6EE7BE49-C455-4612-A1DA-AEEEA7C6A5AF}" srcId="{1D3DA6DC-D6C1-4855-98F2-D1AD58939C57}" destId="{E4AA476E-920F-4605-BCB1-238E590CD72F}" srcOrd="2" destOrd="0" parTransId="{D582D8E5-CB10-46B8-A822-95F07D68758E}" sibTransId="{4EF85F54-620C-4937-B5FE-9B66268C2E2E}"/>
    <dgm:cxn modelId="{4AAE13D7-A832-4362-9C82-9C808ECFB631}" type="presParOf" srcId="{FDB4FB1B-B153-4C8F-BF6D-1D02D55509AB}" destId="{1BDF9CD8-359F-4F98-A320-D19166E34896}" srcOrd="0" destOrd="0" presId="urn:microsoft.com/office/officeart/2005/8/layout/hProcess9"/>
    <dgm:cxn modelId="{3E145365-5CAC-4E12-BBAD-BC178246314E}" type="presParOf" srcId="{FDB4FB1B-B153-4C8F-BF6D-1D02D55509AB}" destId="{BB4CFEBA-7888-4A63-A283-7B6674BC1DAA}" srcOrd="1" destOrd="0" presId="urn:microsoft.com/office/officeart/2005/8/layout/hProcess9"/>
    <dgm:cxn modelId="{35CCA291-EA58-41B5-941A-BA1020BBF593}" type="presParOf" srcId="{BB4CFEBA-7888-4A63-A283-7B6674BC1DAA}" destId="{C71D1AF7-8748-4E69-A972-59E99158550D}" srcOrd="0" destOrd="0" presId="urn:microsoft.com/office/officeart/2005/8/layout/hProcess9"/>
    <dgm:cxn modelId="{310EE393-75E4-41EC-9C6D-3CF3E1B0C22E}" type="presParOf" srcId="{BB4CFEBA-7888-4A63-A283-7B6674BC1DAA}" destId="{8FED7A1A-0071-42B7-B5CB-BFF17C950DBC}" srcOrd="1" destOrd="0" presId="urn:microsoft.com/office/officeart/2005/8/layout/hProcess9"/>
    <dgm:cxn modelId="{D203496D-C508-4911-8ECF-33CEAB1D0764}" type="presParOf" srcId="{BB4CFEBA-7888-4A63-A283-7B6674BC1DAA}" destId="{84C1E143-4364-4EDD-AEEE-F17C2948AD9E}" srcOrd="2" destOrd="0" presId="urn:microsoft.com/office/officeart/2005/8/layout/hProcess9"/>
    <dgm:cxn modelId="{113C1AF9-073F-4298-82FF-630CE9DAFB4A}" type="presParOf" srcId="{BB4CFEBA-7888-4A63-A283-7B6674BC1DAA}" destId="{C58A538B-66DD-4A8C-8009-3E00AA0BDEAF}" srcOrd="3" destOrd="0" presId="urn:microsoft.com/office/officeart/2005/8/layout/hProcess9"/>
    <dgm:cxn modelId="{DF63622E-C9C6-4E8F-9E6F-65301C71A6E0}" type="presParOf" srcId="{BB4CFEBA-7888-4A63-A283-7B6674BC1DAA}" destId="{349699C5-08C7-4AC5-9890-762FD01F0790}" srcOrd="4" destOrd="0" presId="urn:microsoft.com/office/officeart/2005/8/layout/hProcess9"/>
    <dgm:cxn modelId="{DB5A36A9-3984-4B62-AB91-BC590AD53FAA}" type="presParOf" srcId="{BB4CFEBA-7888-4A63-A283-7B6674BC1DAA}" destId="{EE7510F9-2F3E-4087-80B2-088148FCBED8}" srcOrd="5" destOrd="0" presId="urn:microsoft.com/office/officeart/2005/8/layout/hProcess9"/>
    <dgm:cxn modelId="{224D4263-4867-425C-8125-4AC2611D8578}" type="presParOf" srcId="{BB4CFEBA-7888-4A63-A283-7B6674BC1DAA}" destId="{F828F700-BB67-40A5-AA13-4AF305827CE1}" srcOrd="6" destOrd="0" presId="urn:microsoft.com/office/officeart/2005/8/layout/hProcess9"/>
    <dgm:cxn modelId="{487AF4C1-9F3D-42B7-A3A5-2AA14626CA3B}" type="presParOf" srcId="{BB4CFEBA-7888-4A63-A283-7B6674BC1DAA}" destId="{1B1FB0E1-3DBC-4A46-BF50-FAE59E76428D}" srcOrd="7" destOrd="0" presId="urn:microsoft.com/office/officeart/2005/8/layout/hProcess9"/>
    <dgm:cxn modelId="{792FC923-58D6-4D0C-8F33-B1DDC9D6ADFA}" type="presParOf" srcId="{BB4CFEBA-7888-4A63-A283-7B6674BC1DAA}" destId="{F33F1B1F-C652-4BB5-ADE7-2A6E9FB32225}" srcOrd="8" destOrd="0" presId="urn:microsoft.com/office/officeart/2005/8/layout/hProcess9"/>
  </dgm:cxnLst>
  <dgm:bg>
    <a:solidFill>
      <a:schemeClr val="bg2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DF9CD8-359F-4F98-A320-D19166E34896}">
      <dsp:nvSpPr>
        <dsp:cNvPr id="0" name=""/>
        <dsp:cNvSpPr/>
      </dsp:nvSpPr>
      <dsp:spPr>
        <a:xfrm>
          <a:off x="2" y="0"/>
          <a:ext cx="8407714" cy="3272931"/>
        </a:xfrm>
        <a:prstGeom prst="rightArrow">
          <a:avLst/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1D1AF7-8748-4E69-A972-59E99158550D}">
      <dsp:nvSpPr>
        <dsp:cNvPr id="0" name=""/>
        <dsp:cNvSpPr/>
      </dsp:nvSpPr>
      <dsp:spPr>
        <a:xfrm>
          <a:off x="30025" y="1036524"/>
          <a:ext cx="1608998" cy="1309172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lanejamento</a:t>
          </a:r>
          <a:endParaRPr lang="pt-BR" sz="16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93934" y="1100433"/>
        <a:ext cx="1481180" cy="1181354"/>
      </dsp:txXfrm>
    </dsp:sp>
    <dsp:sp modelId="{84C1E143-4364-4EDD-AEEE-F17C2948AD9E}">
      <dsp:nvSpPr>
        <dsp:cNvPr id="0" name=""/>
        <dsp:cNvSpPr/>
      </dsp:nvSpPr>
      <dsp:spPr>
        <a:xfrm>
          <a:off x="1711163" y="1027085"/>
          <a:ext cx="1400778" cy="1309172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peamento da Situação Atual </a:t>
          </a:r>
          <a:endParaRPr lang="pt-BR" sz="16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775072" y="1090994"/>
        <a:ext cx="1272960" cy="1181354"/>
      </dsp:txXfrm>
    </dsp:sp>
    <dsp:sp modelId="{349699C5-08C7-4AC5-9890-762FD01F0790}">
      <dsp:nvSpPr>
        <dsp:cNvPr id="0" name=""/>
        <dsp:cNvSpPr/>
      </dsp:nvSpPr>
      <dsp:spPr>
        <a:xfrm>
          <a:off x="3173559" y="1025671"/>
          <a:ext cx="1399865" cy="1309172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dentificação  de lacunas : Situação atual e futura </a:t>
          </a:r>
          <a:endParaRPr lang="pt-BR" sz="16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237468" y="1089580"/>
        <a:ext cx="1272047" cy="1181354"/>
      </dsp:txXfrm>
    </dsp:sp>
    <dsp:sp modelId="{F828F700-BB67-40A5-AA13-4AF305827CE1}">
      <dsp:nvSpPr>
        <dsp:cNvPr id="0" name=""/>
        <dsp:cNvSpPr/>
      </dsp:nvSpPr>
      <dsp:spPr>
        <a:xfrm>
          <a:off x="4645863" y="1025671"/>
          <a:ext cx="1198409" cy="1309172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esenho do Modelo Futuro</a:t>
          </a:r>
          <a:endParaRPr lang="pt-BR" sz="16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704365" y="1084173"/>
        <a:ext cx="1081405" cy="1192168"/>
      </dsp:txXfrm>
    </dsp:sp>
    <dsp:sp modelId="{F33F1B1F-C652-4BB5-ADE7-2A6E9FB32225}">
      <dsp:nvSpPr>
        <dsp:cNvPr id="0" name=""/>
        <dsp:cNvSpPr/>
      </dsp:nvSpPr>
      <dsp:spPr>
        <a:xfrm>
          <a:off x="5934323" y="1025671"/>
          <a:ext cx="1648995" cy="1309172"/>
        </a:xfrm>
        <a:prstGeom prst="roundRect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laboração de Requerimentos Funcionais </a:t>
          </a:r>
          <a:endParaRPr lang="pt-BR" sz="16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998232" y="1089580"/>
        <a:ext cx="1521177" cy="11813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8BCB8-647B-4D1B-ACDC-E82CC989CB46}" type="datetimeFigureOut">
              <a:rPr lang="pt-BR" smtClean="0"/>
              <a:t>09/06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980672-1103-47BF-9685-67D22745F7A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382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800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26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794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7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4352544" cy="868363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 do slid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219456" y="1188721"/>
            <a:ext cx="8759952" cy="5413248"/>
          </a:xfrm>
        </p:spPr>
        <p:txBody>
          <a:bodyPr anchor="t">
            <a:normAutofit/>
          </a:bodyPr>
          <a:lstStyle>
            <a:lvl1pPr marL="0" indent="0">
              <a:buNone/>
              <a:defRPr sz="3000">
                <a:solidFill>
                  <a:srgbClr val="0A60CA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5188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5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19456" y="1193927"/>
            <a:ext cx="8759952" cy="4603369"/>
          </a:xfrm>
        </p:spPr>
        <p:txBody>
          <a:bodyPr anchor="t">
            <a:normAutofit/>
          </a:bodyPr>
          <a:lstStyle>
            <a:lvl1pPr marL="0" indent="0">
              <a:buNone/>
              <a:defRPr sz="3000" baseline="0">
                <a:solidFill>
                  <a:srgbClr val="0A60CA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 smtClean="0"/>
              <a:t>Inserir texto...</a:t>
            </a:r>
            <a:endParaRPr lang="x-none" dirty="0" smtClean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456" y="162782"/>
            <a:ext cx="8759952" cy="868363"/>
          </a:xfrm>
        </p:spPr>
        <p:txBody>
          <a:bodyPr>
            <a:normAutofit/>
          </a:bodyPr>
          <a:lstStyle>
            <a:lvl1pPr algn="l">
              <a:defRPr sz="3600" b="1" baseline="0">
                <a:solidFill>
                  <a:srgbClr val="0A60CA"/>
                </a:solidFill>
              </a:defRPr>
            </a:lvl1pPr>
          </a:lstStyle>
          <a:p>
            <a:r>
              <a:rPr lang="pt-BR" dirty="0" smtClean="0"/>
              <a:t>TÍTULO DO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343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9456" y="1554480"/>
            <a:ext cx="8759952" cy="5047488"/>
          </a:xfrm>
        </p:spPr>
        <p:txBody>
          <a:bodyPr anchor="t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dirty="0" smtClean="0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19456" y="146304"/>
            <a:ext cx="4005072" cy="1152144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Título do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2474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82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310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4511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854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0577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766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267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406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EE15B1-D7FA-F745-8CED-05D83333552E}" type="datetimeFigureOut">
              <a:rPr lang="en-US" smtClean="0"/>
              <a:t>6/9/2015</a:t>
            </a:fld>
            <a:endParaRPr lang="en-US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6ABFC4-BE0D-7348-9192-12EC8A7EE23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231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51" r:id="rId13"/>
    <p:sldLayoutId id="214748365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mailto:lucyfreitas4@oi.com.br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pr029619\Meus documentos\Minhas imagens\Template PBH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588"/>
          <a:stretch/>
        </p:blipFill>
        <p:spPr bwMode="auto">
          <a:xfrm>
            <a:off x="39412" y="-1"/>
            <a:ext cx="9128234" cy="310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" y="3100787"/>
            <a:ext cx="9167646" cy="375487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pt-BR" sz="2600" b="1" i="1" dirty="0" smtClean="0">
                <a:latin typeface="Verdana" panose="020B0604030504040204" pitchFamily="34" charset="0"/>
                <a:cs typeface="Arial" panose="020B0604020202020204" pitchFamily="34" charset="0"/>
              </a:rPr>
              <a:t>Contabilidade Aplicada ao Setor Público no Brasil :  Dificuldades e Ganhos com </a:t>
            </a:r>
            <a:r>
              <a:rPr lang="pt-BR" sz="2600" b="1" i="1" dirty="0">
                <a:latin typeface="Verdana" panose="020B0604030504040204" pitchFamily="34" charset="0"/>
                <a:cs typeface="Arial" panose="020B0604020202020204" pitchFamily="34" charset="0"/>
              </a:rPr>
              <a:t>a</a:t>
            </a:r>
            <a:r>
              <a:rPr lang="pt-BR" sz="2600" b="1" i="1" dirty="0" smtClean="0">
                <a:latin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t-BR" sz="2600" b="1" i="1" dirty="0">
                <a:latin typeface="Verdana" panose="020B0604030504040204" pitchFamily="34" charset="0"/>
                <a:cs typeface="Arial" panose="020B0604020202020204" pitchFamily="34" charset="0"/>
              </a:rPr>
              <a:t>s</a:t>
            </a:r>
            <a:r>
              <a:rPr lang="pt-BR" sz="2600" b="1" i="1" dirty="0" smtClean="0">
                <a:latin typeface="Verdana" panose="020B0604030504040204" pitchFamily="34" charset="0"/>
                <a:cs typeface="Arial" panose="020B0604020202020204" pitchFamily="34" charset="0"/>
              </a:rPr>
              <a:t>ua inovação.</a:t>
            </a:r>
          </a:p>
          <a:p>
            <a:pPr algn="ctr"/>
            <a:endParaRPr lang="pt-BR" sz="2800" b="1" i="1" dirty="0" smtClean="0"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sz="2400" b="1" i="1" dirty="0" smtClean="0">
                <a:latin typeface="Verdana" panose="020B0604030504040204" pitchFamily="34" charset="0"/>
                <a:cs typeface="Arial" panose="020B0604020202020204" pitchFamily="34" charset="0"/>
              </a:rPr>
              <a:t>Lucy Fátima de Assis Freitas</a:t>
            </a:r>
          </a:p>
          <a:p>
            <a:pPr algn="ctr">
              <a:lnSpc>
                <a:spcPct val="150000"/>
              </a:lnSpc>
            </a:pPr>
            <a:r>
              <a:rPr lang="pt-BR" sz="2000" b="1" i="1" dirty="0" smtClean="0">
                <a:latin typeface="Verdana" panose="020B0604030504040204" pitchFamily="34" charset="0"/>
                <a:cs typeface="Arial" panose="020B0604020202020204" pitchFamily="34" charset="0"/>
              </a:rPr>
              <a:t>Contadora Geral  da Prefeitura Municipal de Belo Horizonte</a:t>
            </a:r>
            <a:endParaRPr lang="pt-BR" sz="2000" b="1" i="1" dirty="0"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90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/>
          <p:cNvSpPr txBox="1"/>
          <p:nvPr/>
        </p:nvSpPr>
        <p:spPr>
          <a:xfrm>
            <a:off x="71438" y="1365981"/>
            <a:ext cx="9037637" cy="2308324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u="sng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RECEITA POR COMPETÊNCIA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sym typeface="Wingdings 3"/>
              </a:rPr>
              <a:t> </a:t>
            </a:r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PTU, ITBI, TAXAS ISS AUTONOMO –   </a:t>
            </a:r>
            <a:r>
              <a:rPr lang="pt-BR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abilização desde Jan/2014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sym typeface="Wingdings 3"/>
              </a:rPr>
              <a:t> </a:t>
            </a:r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S EMPRESAS /NFS-e      </a:t>
            </a:r>
            <a:r>
              <a:rPr lang="pt-BR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Desenvolvimento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ras Receitas :   2ª  etapa do Projeto</a:t>
            </a:r>
            <a:r>
              <a:rPr lang="pt-BR" sz="24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pt-BR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</a:t>
            </a:r>
            <a:endParaRPr lang="pt-BR" b="1" dirty="0">
              <a:solidFill>
                <a:srgbClr val="92D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95250" y="3784133"/>
            <a:ext cx="9013825" cy="30003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u="sng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DESPESA POR COMPETÊNCIA 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ÓDULO DE TÍTULOS : </a:t>
            </a:r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Registro de todas as modalidades de títulos para o registro tempestivo da despesa / </a:t>
            </a:r>
            <a:r>
              <a:rPr lang="pt-BR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ropriação da despesa  em liquidação </a:t>
            </a:r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 		</a:t>
            </a:r>
            <a:r>
              <a:rPr lang="pt-BR" b="1" u="sng" dirty="0" err="1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luido</a:t>
            </a:r>
            <a:r>
              <a:rPr lang="pt-BR" b="1" u="sng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PA DE APROPRIAÇÃO DA FOLHA </a:t>
            </a:r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 Apropriação mensal da despesa com pessoal e encargos .						</a:t>
            </a:r>
            <a:r>
              <a:rPr lang="pt-BR" b="1" u="sng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homologação</a:t>
            </a:r>
            <a:endParaRPr lang="pt-BR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254644" y="225816"/>
            <a:ext cx="25791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u="sng" dirty="0" smtClean="0"/>
              <a:t>ESTÁGIO ATUAL </a:t>
            </a:r>
            <a:endParaRPr lang="pt-BR" sz="2800" b="1" u="sng" dirty="0"/>
          </a:p>
        </p:txBody>
      </p:sp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708553" y="135231"/>
            <a:ext cx="2561014" cy="1363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35485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5" animBg="1"/>
      <p:bldP spid="2" grpId="0" build="p" bldLvl="5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0"/>
            <a:ext cx="5344510" cy="868363"/>
          </a:xfrm>
        </p:spPr>
        <p:txBody>
          <a:bodyPr>
            <a:normAutofit fontScale="90000"/>
          </a:bodyPr>
          <a:lstStyle/>
          <a:p>
            <a:r>
              <a:rPr lang="pt-BR" b="1" u="sng" dirty="0" smtClean="0">
                <a:solidFill>
                  <a:schemeClr val="tx1"/>
                </a:solidFill>
              </a:rPr>
              <a:t/>
            </a:r>
            <a:br>
              <a:rPr lang="pt-BR" b="1" u="sng" dirty="0" smtClean="0">
                <a:solidFill>
                  <a:schemeClr val="tx1"/>
                </a:solidFill>
              </a:rPr>
            </a:br>
            <a:r>
              <a:rPr lang="pt-BR" b="1" u="sng" dirty="0" smtClean="0">
                <a:solidFill>
                  <a:schemeClr val="tx1"/>
                </a:solidFill>
              </a:rPr>
              <a:t>Próximos </a:t>
            </a:r>
            <a:r>
              <a:rPr lang="pt-BR" b="1" u="sng" dirty="0">
                <a:solidFill>
                  <a:schemeClr val="tx1"/>
                </a:solidFill>
              </a:rPr>
              <a:t>P</a:t>
            </a:r>
            <a:r>
              <a:rPr lang="pt-BR" b="1" u="sng" dirty="0" smtClean="0">
                <a:solidFill>
                  <a:schemeClr val="tx1"/>
                </a:solidFill>
              </a:rPr>
              <a:t>assos</a:t>
            </a:r>
            <a:br>
              <a:rPr lang="pt-BR" b="1" u="sng" dirty="0" smtClean="0">
                <a:solidFill>
                  <a:schemeClr val="tx1"/>
                </a:solidFill>
              </a:rPr>
            </a:br>
            <a:endParaRPr lang="pt-BR" b="1" u="sng" dirty="0">
              <a:solidFill>
                <a:schemeClr val="tx1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87924" y="1109891"/>
            <a:ext cx="8759952" cy="5413248"/>
          </a:xfrm>
          <a:ln>
            <a:solidFill>
              <a:srgbClr val="0A60CA"/>
            </a:solidFill>
          </a:ln>
        </p:spPr>
        <p:txBody>
          <a:bodyPr/>
          <a:lstStyle/>
          <a:p>
            <a:endParaRPr lang="pt-BR" b="1" dirty="0" smtClean="0"/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Apropriação do ISS  </a:t>
            </a:r>
            <a:r>
              <a:rPr lang="pt-BR" sz="2800" b="1" dirty="0" err="1" smtClean="0">
                <a:solidFill>
                  <a:schemeClr val="tx1"/>
                </a:solidFill>
              </a:rPr>
              <a:t>NFS.e</a:t>
            </a:r>
            <a:endParaRPr lang="pt-BR" sz="2800" b="1" dirty="0" smtClean="0">
              <a:solidFill>
                <a:schemeClr val="tx1"/>
              </a:solidFill>
            </a:endParaRP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Apropriação das Receitas não Tributárias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Controle e Contabilização das </a:t>
            </a:r>
            <a:r>
              <a:rPr lang="pt-BR" sz="2800" b="1" dirty="0" err="1" smtClean="0">
                <a:solidFill>
                  <a:schemeClr val="tx1"/>
                </a:solidFill>
              </a:rPr>
              <a:t>PPP’s</a:t>
            </a:r>
            <a:endParaRPr lang="pt-BR" sz="2800" b="1" dirty="0" smtClean="0">
              <a:solidFill>
                <a:schemeClr val="tx1"/>
              </a:solidFill>
            </a:endParaRP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Controle e Contabilização dos Precatórios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Obras em andamento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Bens de Infraestrutura 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Intangíveis 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pt-BR" sz="2800" b="1" dirty="0" smtClean="0">
                <a:solidFill>
                  <a:schemeClr val="tx1"/>
                </a:solidFill>
              </a:rPr>
              <a:t>Desenvolvimento e Integração dos novos Sistemas de </a:t>
            </a:r>
            <a:r>
              <a:rPr lang="pt-BR" sz="2800" b="1" dirty="0" smtClean="0">
                <a:solidFill>
                  <a:schemeClr val="tx1"/>
                </a:solidFill>
              </a:rPr>
              <a:t>Gestão  /Custos </a:t>
            </a:r>
            <a:endParaRPr lang="pt-BR" sz="2800" b="1" dirty="0" smtClean="0">
              <a:solidFill>
                <a:schemeClr val="tx1"/>
              </a:solidFill>
            </a:endParaRPr>
          </a:p>
          <a:p>
            <a:endParaRPr lang="pt-BR" b="1" dirty="0"/>
          </a:p>
        </p:txBody>
      </p:sp>
      <p:pic>
        <p:nvPicPr>
          <p:cNvPr id="5" name="Imagem 4" descr="BH-SLOGAN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415039" y="117686"/>
            <a:ext cx="2819133" cy="150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255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incipais Problemas </a:t>
            </a:r>
            <a:endParaRPr lang="pt-BR" dirty="0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349715" y="1862528"/>
            <a:ext cx="8229600" cy="4525963"/>
          </a:xfrm>
          <a:prstGeom prst="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3000" kern="1200">
                <a:solidFill>
                  <a:srgbClr val="0A60CA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wares </a:t>
            </a:r>
            <a:endParaRPr lang="pt-BR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ções  ( Sistemas, Processos)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retas : Sistemas diferenciados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ação </a:t>
            </a:r>
            <a:r>
              <a:rPr lang="pt-BR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Pessoal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assez  </a:t>
            </a:r>
            <a:r>
              <a:rPr lang="pt-BR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Recursos Financeiros 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zos *</a:t>
            </a: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73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8816" y="126108"/>
            <a:ext cx="634827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400" b="1" u="sng" dirty="0" smtClean="0">
                <a:solidFill>
                  <a:srgbClr val="0000FF"/>
                </a:solidFill>
              </a:rPr>
              <a:t>IMPLEMENTAÇÃO DA  “ NOVA CONTABILIDADE “</a:t>
            </a:r>
          </a:p>
          <a:p>
            <a:pPr>
              <a:lnSpc>
                <a:spcPct val="150000"/>
              </a:lnSpc>
            </a:pPr>
            <a:r>
              <a:rPr lang="pt-BR" sz="2400" b="1" u="sng" dirty="0" smtClean="0">
                <a:solidFill>
                  <a:srgbClr val="0000FF"/>
                </a:solidFill>
              </a:rPr>
              <a:t>PRINCIPAIS DIFICULDADES NA PBH.</a:t>
            </a:r>
            <a:endParaRPr lang="pt-BR" sz="2400" b="1" u="sng" dirty="0">
              <a:solidFill>
                <a:srgbClr val="0000FF"/>
              </a:solidFill>
            </a:endParaRPr>
          </a:p>
        </p:txBody>
      </p:sp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534072" y="131036"/>
            <a:ext cx="2768999" cy="147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5566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bldLvl="5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27" t="35130" r="32695" b="35132"/>
          <a:stretch/>
        </p:blipFill>
        <p:spPr bwMode="auto">
          <a:xfrm>
            <a:off x="0" y="1709738"/>
            <a:ext cx="6286500" cy="329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719"/>
          <a:stretch/>
        </p:blipFill>
        <p:spPr bwMode="auto">
          <a:xfrm>
            <a:off x="47500" y="1122423"/>
            <a:ext cx="9021370" cy="5640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tângulo 4"/>
          <p:cNvSpPr/>
          <p:nvPr/>
        </p:nvSpPr>
        <p:spPr>
          <a:xfrm>
            <a:off x="112581" y="263214"/>
            <a:ext cx="30634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</a:pPr>
            <a:r>
              <a:rPr lang="pt-BR" sz="3600" b="1" u="sng" dirty="0"/>
              <a:t>Módulo PCASP </a:t>
            </a:r>
          </a:p>
        </p:txBody>
      </p:sp>
      <p:pic>
        <p:nvPicPr>
          <p:cNvPr id="7" name="Imagem 6" descr="BH-SLOGAN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406707" y="104340"/>
            <a:ext cx="2783773" cy="1482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597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3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1" y="0"/>
            <a:ext cx="5659821" cy="868363"/>
          </a:xfrm>
        </p:spPr>
        <p:txBody>
          <a:bodyPr>
            <a:normAutofit/>
          </a:bodyPr>
          <a:lstStyle/>
          <a:p>
            <a:r>
              <a:rPr lang="pt-BR" sz="2800" b="1" u="sng" dirty="0" smtClean="0">
                <a:solidFill>
                  <a:schemeClr val="tx1"/>
                </a:solidFill>
              </a:rPr>
              <a:t>CONTA CORRENTE</a:t>
            </a:r>
            <a:endParaRPr lang="pt-BR" sz="2800" b="1" u="sng" dirty="0">
              <a:solidFill>
                <a:schemeClr val="tx1"/>
              </a:solidFill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24" y="1181582"/>
            <a:ext cx="8408163" cy="4999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24" y="1294045"/>
            <a:ext cx="8505825" cy="48812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486302" y="95569"/>
            <a:ext cx="2736318" cy="14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1461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069" y="1904062"/>
            <a:ext cx="8709746" cy="4733235"/>
          </a:xfrm>
          <a:prstGeom prst="rect">
            <a:avLst/>
          </a:prstGeom>
        </p:spPr>
      </p:pic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549532" y="118017"/>
            <a:ext cx="2681543" cy="1428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ítulo 1"/>
          <p:cNvSpPr>
            <a:spLocks noGrp="1"/>
          </p:cNvSpPr>
          <p:nvPr>
            <p:ph type="title"/>
          </p:nvPr>
        </p:nvSpPr>
        <p:spPr>
          <a:xfrm>
            <a:off x="-1" y="0"/>
            <a:ext cx="5941657" cy="868363"/>
          </a:xfrm>
        </p:spPr>
        <p:txBody>
          <a:bodyPr>
            <a:normAutofit/>
          </a:bodyPr>
          <a:lstStyle/>
          <a:p>
            <a:r>
              <a:rPr lang="pt-BR" u="sng" dirty="0" smtClean="0">
                <a:solidFill>
                  <a:schemeClr val="tx1"/>
                </a:solidFill>
              </a:rPr>
              <a:t>D</a:t>
            </a:r>
            <a:r>
              <a:rPr lang="pt-BR" u="sng" dirty="0" smtClean="0">
                <a:solidFill>
                  <a:schemeClr val="tx1"/>
                </a:solidFill>
              </a:rPr>
              <a:t>ados do modulo CASP </a:t>
            </a:r>
            <a:endParaRPr lang="pt-BR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66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1" y="0"/>
            <a:ext cx="5941657" cy="868363"/>
          </a:xfrm>
        </p:spPr>
        <p:txBody>
          <a:bodyPr>
            <a:normAutofit/>
          </a:bodyPr>
          <a:lstStyle/>
          <a:p>
            <a:r>
              <a:rPr lang="pt-BR" u="sng" dirty="0" smtClean="0">
                <a:solidFill>
                  <a:schemeClr val="tx1"/>
                </a:solidFill>
              </a:rPr>
              <a:t>D</a:t>
            </a:r>
            <a:r>
              <a:rPr lang="pt-BR" u="sng" dirty="0" smtClean="0">
                <a:solidFill>
                  <a:schemeClr val="tx1"/>
                </a:solidFill>
              </a:rPr>
              <a:t>ados do modulo CASP </a:t>
            </a:r>
            <a:endParaRPr lang="pt-BR" u="sng" dirty="0">
              <a:solidFill>
                <a:schemeClr val="tx1"/>
              </a:solidFill>
            </a:endParaRPr>
          </a:p>
        </p:txBody>
      </p:sp>
      <p:pic>
        <p:nvPicPr>
          <p:cNvPr id="11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083" y="1585828"/>
            <a:ext cx="8467811" cy="3869030"/>
          </a:xfrm>
          <a:prstGeom prst="rect">
            <a:avLst/>
          </a:prstGeom>
        </p:spPr>
      </p:pic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104789" y="152672"/>
            <a:ext cx="2927870" cy="155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2230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mtClean="0"/>
              <a:t>Apropriação Pessoal </a:t>
            </a:r>
            <a:br>
              <a:rPr lang="pt-BR" smtClean="0"/>
            </a:br>
            <a:r>
              <a:rPr lang="pt-BR" smtClean="0"/>
              <a:t>Regime de Competência</a:t>
            </a:r>
            <a:endParaRPr lang="pt-BR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1" y="1864562"/>
            <a:ext cx="8856984" cy="1368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88" y="1068770"/>
            <a:ext cx="4964016" cy="5635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Imagem 6" descr="BH-SLOGAN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483452" y="334732"/>
            <a:ext cx="2520135" cy="1342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8162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539552" y="4509120"/>
            <a:ext cx="7920880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36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rigada !!!</a:t>
            </a:r>
          </a:p>
          <a:p>
            <a:pPr algn="ctr">
              <a:lnSpc>
                <a:spcPct val="150000"/>
              </a:lnSpc>
            </a:pPr>
            <a:r>
              <a:rPr lang="pt-BR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"/>
              </a:rPr>
              <a:t>lucy@pbh.gov.br</a:t>
            </a:r>
            <a:endParaRPr lang="pt-BR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lnSpc>
                <a:spcPct val="150000"/>
              </a:lnSpc>
            </a:pPr>
            <a:r>
              <a:rPr lang="pt-BR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2"/>
              </a:rPr>
              <a:t>lucyfreitas4@oi.com.br</a:t>
            </a:r>
            <a:endParaRPr lang="pt-BR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20B95D-806B-4CE2-8727-9276AF529328}" type="slidenum">
              <a:rPr lang="pt-BR" smtClean="0"/>
              <a:t>18</a:t>
            </a:fld>
            <a:endParaRPr lang="pt-BR"/>
          </a:p>
        </p:txBody>
      </p:sp>
      <p:pic>
        <p:nvPicPr>
          <p:cNvPr id="7" name="Imagem 6" descr="BH-SLOGAN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021" y="855850"/>
            <a:ext cx="6682216" cy="3558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242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17"/>
          <p:cNvSpPr/>
          <p:nvPr/>
        </p:nvSpPr>
        <p:spPr>
          <a:xfrm flipH="1">
            <a:off x="57592" y="1029583"/>
            <a:ext cx="9028816" cy="4934262"/>
          </a:xfrm>
          <a:prstGeom prst="funnel">
            <a:avLst/>
          </a:prstGeom>
          <a:blipFill rotWithShape="0">
            <a:blip r:embed="rId2"/>
            <a:stretch>
              <a:fillRect/>
            </a:stretch>
          </a:blipFill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Seta para baixo 16"/>
          <p:cNvSpPr/>
          <p:nvPr/>
        </p:nvSpPr>
        <p:spPr>
          <a:xfrm>
            <a:off x="4101413" y="5768788"/>
            <a:ext cx="1081088" cy="633413"/>
          </a:xfrm>
          <a:prstGeom prst="downArrow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6000" dirty="0"/>
          </a:p>
        </p:txBody>
      </p:sp>
      <p:grpSp>
        <p:nvGrpSpPr>
          <p:cNvPr id="19" name="Grupo 18"/>
          <p:cNvGrpSpPr/>
          <p:nvPr/>
        </p:nvGrpSpPr>
        <p:grpSpPr>
          <a:xfrm>
            <a:off x="1063446" y="5821918"/>
            <a:ext cx="7649570" cy="948447"/>
            <a:chOff x="810858" y="6524815"/>
            <a:chExt cx="7649570" cy="948447"/>
          </a:xfrm>
        </p:grpSpPr>
        <p:sp>
          <p:nvSpPr>
            <p:cNvPr id="20" name="Retângulo 19"/>
            <p:cNvSpPr/>
            <p:nvPr/>
          </p:nvSpPr>
          <p:spPr>
            <a:xfrm>
              <a:off x="858156" y="6524815"/>
              <a:ext cx="7602272" cy="49429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Retângulo 20"/>
            <p:cNvSpPr/>
            <p:nvPr/>
          </p:nvSpPr>
          <p:spPr>
            <a:xfrm>
              <a:off x="810858" y="6978970"/>
              <a:ext cx="7602272" cy="4942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0688" tIns="170688" rIns="170688" bIns="170688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NSOLIDAÇÃO  DAS CONTAS MUNICIPAIS</a:t>
              </a:r>
              <a:endParaRPr lang="pt-BR" sz="2400" b="1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1" name="Grupo 10"/>
          <p:cNvGrpSpPr/>
          <p:nvPr/>
        </p:nvGrpSpPr>
        <p:grpSpPr>
          <a:xfrm rot="20958569">
            <a:off x="95902" y="929256"/>
            <a:ext cx="4673652" cy="2155419"/>
            <a:chOff x="110286" y="1375572"/>
            <a:chExt cx="4026027" cy="1873598"/>
          </a:xfrm>
          <a:scene3d>
            <a:camera prst="orthographicFront"/>
            <a:lightRig rig="flat" dir="t"/>
          </a:scene3d>
        </p:grpSpPr>
        <p:sp>
          <p:nvSpPr>
            <p:cNvPr id="12" name="Elipse 11"/>
            <p:cNvSpPr/>
            <p:nvPr/>
          </p:nvSpPr>
          <p:spPr>
            <a:xfrm>
              <a:off x="110286" y="1375572"/>
              <a:ext cx="4026027" cy="1873598"/>
            </a:xfrm>
            <a:prstGeom prst="ellipse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3" name="Elipse 4"/>
            <p:cNvSpPr/>
            <p:nvPr/>
          </p:nvSpPr>
          <p:spPr>
            <a:xfrm>
              <a:off x="603892" y="1426635"/>
              <a:ext cx="3100928" cy="139870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defTabSz="8001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18  SECRETARIAS MUNICIPAIS  </a:t>
              </a:r>
            </a:p>
            <a:p>
              <a:pPr lvl="0" defTabSz="8001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9 REGIONAIS </a:t>
              </a:r>
            </a:p>
            <a:p>
              <a:pPr lvl="0" defTabSz="80010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5  FUNDOS MUNICIPAIS</a:t>
              </a:r>
              <a:endParaRPr lang="pt-BR" b="1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6" name="Grupo 5"/>
          <p:cNvGrpSpPr/>
          <p:nvPr/>
        </p:nvGrpSpPr>
        <p:grpSpPr>
          <a:xfrm rot="253116">
            <a:off x="4389605" y="884272"/>
            <a:ext cx="4646774" cy="2786544"/>
            <a:chOff x="4139954" y="1243839"/>
            <a:chExt cx="4549971" cy="2129834"/>
          </a:xfrm>
          <a:scene3d>
            <a:camera prst="orthographicFront"/>
            <a:lightRig rig="flat" dir="t"/>
          </a:scene3d>
        </p:grpSpPr>
        <p:sp>
          <p:nvSpPr>
            <p:cNvPr id="7" name="Elipse 6"/>
            <p:cNvSpPr/>
            <p:nvPr/>
          </p:nvSpPr>
          <p:spPr>
            <a:xfrm>
              <a:off x="4139954" y="1243839"/>
              <a:ext cx="4549971" cy="2129834"/>
            </a:xfrm>
            <a:prstGeom prst="ellipse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" name="Elipse 4"/>
            <p:cNvSpPr/>
            <p:nvPr/>
          </p:nvSpPr>
          <p:spPr>
            <a:xfrm>
              <a:off x="4760753" y="1493474"/>
              <a:ext cx="3217315" cy="157086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r" defTabSz="8001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3 AUTARQUIAS</a:t>
              </a:r>
            </a:p>
            <a:p>
              <a:pPr lvl="0" algn="r" defTabSz="8001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3 FUNDAÇÕES</a:t>
              </a:r>
            </a:p>
            <a:p>
              <a:pPr lvl="0" algn="r" defTabSz="8001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4 EMPRESAS DEPENDENTES</a:t>
              </a:r>
            </a:p>
            <a:p>
              <a:pPr lvl="0" algn="r" defTabSz="8001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1 EMPRESA INDEPENDENTE</a:t>
              </a:r>
            </a:p>
            <a:p>
              <a:pPr lvl="0" algn="r" defTabSz="8001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b="1" kern="12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2 CONSÓRCIOS PÚBLICOS  </a:t>
              </a:r>
              <a:endParaRPr lang="pt-BR" sz="1600" b="1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2397899" y="2116929"/>
            <a:ext cx="3293442" cy="1418014"/>
            <a:chOff x="2272054" y="1490825"/>
            <a:chExt cx="1956766" cy="1956766"/>
          </a:xfrm>
          <a:scene3d>
            <a:camera prst="orthographicFront"/>
            <a:lightRig rig="flat" dir="t"/>
          </a:scene3d>
        </p:grpSpPr>
        <p:sp>
          <p:nvSpPr>
            <p:cNvPr id="15" name="Elipse 14"/>
            <p:cNvSpPr/>
            <p:nvPr/>
          </p:nvSpPr>
          <p:spPr>
            <a:xfrm>
              <a:off x="2272054" y="1490825"/>
              <a:ext cx="1956766" cy="1956766"/>
            </a:xfrm>
            <a:prstGeom prst="ellipse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50000"/>
                </a:lnSpc>
              </a:pPr>
              <a:r>
                <a:rPr lang="pt-BR" b="1" dirty="0" smtClean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.5  MILHÕES   HAB</a:t>
              </a:r>
            </a:p>
            <a:p>
              <a:pPr algn="ctr">
                <a:lnSpc>
                  <a:spcPct val="150000"/>
                </a:lnSpc>
              </a:pPr>
              <a:r>
                <a:rPr lang="pt-BR" b="1" dirty="0" smtClean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RÇAMENTO : 12 BI</a:t>
              </a:r>
              <a:endParaRPr lang="pt-B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" name="Elipse 4"/>
            <p:cNvSpPr/>
            <p:nvPr/>
          </p:nvSpPr>
          <p:spPr>
            <a:xfrm>
              <a:off x="2558616" y="1777387"/>
              <a:ext cx="1383642" cy="138364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20320" tIns="20320" rIns="20320" bIns="20320" numCol="1" spcCol="1270" anchor="t" anchorCtr="0">
              <a:noAutofit/>
            </a:bodyPr>
            <a:lstStyle/>
            <a:p>
              <a:pPr lvl="0" algn="ctr" defTabSz="711200">
                <a:lnSpc>
                  <a:spcPct val="15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1600" b="1" kern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" name="Retângulo 1"/>
          <p:cNvSpPr/>
          <p:nvPr/>
        </p:nvSpPr>
        <p:spPr>
          <a:xfrm>
            <a:off x="3641630" y="1483368"/>
            <a:ext cx="2719591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71120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CÂMARA MUNICIPAL   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4" name="Imagem 23" descr="BH-SLOGAN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52329">
            <a:off x="-89812" y="56386"/>
            <a:ext cx="2668192" cy="142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2516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Diagrama 37"/>
          <p:cNvGraphicFramePr/>
          <p:nvPr>
            <p:extLst>
              <p:ext uri="{D42A27DB-BD31-4B8C-83A1-F6EECF244321}">
                <p14:modId xmlns:p14="http://schemas.microsoft.com/office/powerpoint/2010/main" val="742657759"/>
              </p:ext>
            </p:extLst>
          </p:nvPr>
        </p:nvGraphicFramePr>
        <p:xfrm>
          <a:off x="427509" y="3156107"/>
          <a:ext cx="8407719" cy="3272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4" name="Title 1"/>
          <p:cNvSpPr txBox="1">
            <a:spLocks/>
          </p:cNvSpPr>
          <p:nvPr/>
        </p:nvSpPr>
        <p:spPr>
          <a:xfrm>
            <a:off x="60003" y="1017082"/>
            <a:ext cx="8561483" cy="18372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 algn="l" fontAlgn="auto">
              <a:lnSpc>
                <a:spcPct val="150000"/>
              </a:lnSpc>
              <a:spcAft>
                <a:spcPts val="0"/>
              </a:spcAft>
              <a:buAutoNum type="arabicPlain" startAt="2010"/>
              <a:defRPr/>
            </a:pPr>
            <a:r>
              <a:rPr 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 3"/>
              </a:rPr>
              <a:t>  </a:t>
            </a:r>
          </a:p>
          <a:p>
            <a:pPr marL="342900" indent="-342900" algn="l" fontAlgn="auto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agnostico das mudanças necessárias </a:t>
            </a:r>
          </a:p>
          <a:p>
            <a:pPr marL="342900" indent="-342900" algn="l" fontAlgn="auto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</a:t>
            </a:r>
            <a:r>
              <a:rPr 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enho do modelo futuro dos processos para o atendimento </a:t>
            </a:r>
          </a:p>
          <a:p>
            <a:pPr algn="l" fontAlgn="auto">
              <a:spcAft>
                <a:spcPts val="0"/>
              </a:spcAft>
              <a:defRPr/>
            </a:pPr>
            <a:r>
              <a:rPr 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do novo modelo  contábil  (CASP).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173421" y="99109"/>
            <a:ext cx="22085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u="sng" dirty="0" smtClean="0"/>
              <a:t>Projeto CASP </a:t>
            </a:r>
            <a:endParaRPr lang="pt-BR" sz="2800" b="1" u="sng" dirty="0"/>
          </a:p>
        </p:txBody>
      </p:sp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138166" y="164440"/>
            <a:ext cx="3183137" cy="1695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96969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graphicEl>
                                              <a:dgm id="{1BDF9CD8-359F-4F98-A320-D19166E3489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>
                                            <p:graphicEl>
                                              <a:dgm id="{1BDF9CD8-359F-4F98-A320-D19166E3489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graphicEl>
                                              <a:dgm id="{C71D1AF7-8748-4E69-A972-59E99158550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">
                                            <p:graphicEl>
                                              <a:dgm id="{C71D1AF7-8748-4E69-A972-59E99158550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graphicEl>
                                              <a:dgm id="{84C1E143-4364-4EDD-AEEE-F17C2948AD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8">
                                            <p:graphicEl>
                                              <a:dgm id="{84C1E143-4364-4EDD-AEEE-F17C2948AD9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graphicEl>
                                              <a:dgm id="{349699C5-08C7-4AC5-9890-762FD01F07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>
                                            <p:graphicEl>
                                              <a:dgm id="{349699C5-08C7-4AC5-9890-762FD01F079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graphicEl>
                                              <a:dgm id="{F828F700-BB67-40A5-AA13-4AF305827C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8">
                                            <p:graphicEl>
                                              <a:dgm id="{F828F700-BB67-40A5-AA13-4AF305827C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graphicEl>
                                              <a:dgm id="{F33F1B1F-C652-4BB5-ADE7-2A6E9FB322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8">
                                            <p:graphicEl>
                                              <a:dgm id="{F33F1B1F-C652-4BB5-ADE7-2A6E9FB3222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8" grpId="0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"/>
          <p:cNvSpPr>
            <a:spLocks noChangeArrowheads="1"/>
          </p:cNvSpPr>
          <p:nvPr/>
        </p:nvSpPr>
        <p:spPr bwMode="auto">
          <a:xfrm>
            <a:off x="1860204" y="1570334"/>
            <a:ext cx="7127472" cy="5078313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 defasados , diversas linguagens 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alta </a:t>
            </a: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interface entre os sistemas ,  sistemas diferenciados na Adm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direta ( </a:t>
            </a: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rimônio,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ha, Estoques</a:t>
            </a: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endParaRPr lang="pt-BR" sz="20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sidade de procedimentos manuais para alimentação de  algumas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ções;</a:t>
            </a:r>
            <a:endParaRPr lang="pt-BR" sz="20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endParaRPr lang="pt-BR" sz="20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cessidade de customização de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s os sistemas para adequação  </a:t>
            </a: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P;</a:t>
            </a: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endParaRPr lang="pt-BR" sz="20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nvolvimento de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 novo </a:t>
            </a:r>
            <a:r>
              <a:rPr lang="pt-BR" sz="2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ódulo </a:t>
            </a:r>
            <a:r>
              <a:rPr lang="pt-BR" sz="2000" b="1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ábil.</a:t>
            </a:r>
            <a:endParaRPr lang="pt-BR" sz="20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ângulo de cantos arredondados 4"/>
          <p:cNvSpPr/>
          <p:nvPr/>
        </p:nvSpPr>
        <p:spPr>
          <a:xfrm>
            <a:off x="179511" y="1916832"/>
            <a:ext cx="811213" cy="447433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4" name="Pentagon 6"/>
          <p:cNvSpPr/>
          <p:nvPr>
            <p:custDataLst>
              <p:tags r:id="rId1"/>
            </p:custDataLst>
          </p:nvPr>
        </p:nvSpPr>
        <p:spPr>
          <a:xfrm>
            <a:off x="539552" y="2370584"/>
            <a:ext cx="1368152" cy="914400"/>
          </a:xfrm>
          <a:prstGeom prst="homePlate">
            <a:avLst>
              <a:gd name="adj" fmla="val 21429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chemeClr val="tx1"/>
                </a:solidFill>
              </a:rPr>
              <a:t>CASP</a:t>
            </a:r>
          </a:p>
        </p:txBody>
      </p:sp>
      <p:sp>
        <p:nvSpPr>
          <p:cNvPr id="6" name="Retângulo 5"/>
          <p:cNvSpPr/>
          <p:nvPr/>
        </p:nvSpPr>
        <p:spPr>
          <a:xfrm>
            <a:off x="9168" y="365033"/>
            <a:ext cx="6248265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914400">
              <a:spcBef>
                <a:spcPct val="0"/>
              </a:spcBef>
            </a:pPr>
            <a:r>
              <a:rPr lang="pt-BR" sz="2800" b="1" u="sng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DIAGNÓSTICO  DOS  SISTEMAS  </a:t>
            </a:r>
            <a:endParaRPr lang="pt-BR" sz="2800" b="1" u="sng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79512" y="1916832"/>
            <a:ext cx="811213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2010</a:t>
            </a:r>
          </a:p>
        </p:txBody>
      </p:sp>
      <p:pic>
        <p:nvPicPr>
          <p:cNvPr id="8" name="Imagem 7" descr="BH-SLOGAN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414709" y="138643"/>
            <a:ext cx="2822780" cy="150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082652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5" animBg="1" advAuto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2278861" y="1643644"/>
            <a:ext cx="6696744" cy="470898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marL="285750" indent="-28575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alt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Processos não padronizados e não integrados entre </a:t>
            </a:r>
            <a:r>
              <a:rPr lang="pt-BR" alt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órgãos;</a:t>
            </a:r>
            <a:endParaRPr lang="pt-BR" alt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alt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ecessidade </a:t>
            </a:r>
            <a:r>
              <a:rPr lang="pt-BR" alt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redução de trabalho manual de entrada de dados e de duplicidades (retrabalho</a:t>
            </a:r>
            <a:r>
              <a:rPr lang="pt-BR" alt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  <a:endParaRPr lang="pt-BR" alt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alt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Necessidade de aumento de eficiência para redução do </a:t>
            </a:r>
            <a:r>
              <a:rPr lang="pt-BR" alt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usteio;</a:t>
            </a:r>
            <a:endParaRPr lang="pt-BR" alt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alt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Necessidade de modernização dos processos atuais para melhoria da percepção de nível de serviço por parte da </a:t>
            </a:r>
            <a:r>
              <a:rPr lang="pt-BR" alt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opulação.</a:t>
            </a:r>
            <a:endParaRPr lang="en-US" alt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ângulo de cantos arredondados 8"/>
          <p:cNvSpPr/>
          <p:nvPr/>
        </p:nvSpPr>
        <p:spPr>
          <a:xfrm>
            <a:off x="179511" y="1679332"/>
            <a:ext cx="811213" cy="447433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10" name="Pentagon 6"/>
          <p:cNvSpPr/>
          <p:nvPr>
            <p:custDataLst>
              <p:tags r:id="rId1"/>
            </p:custDataLst>
          </p:nvPr>
        </p:nvSpPr>
        <p:spPr>
          <a:xfrm>
            <a:off x="539552" y="2133084"/>
            <a:ext cx="1368152" cy="914400"/>
          </a:xfrm>
          <a:prstGeom prst="homePlate">
            <a:avLst>
              <a:gd name="adj" fmla="val 21429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dirty="0">
                <a:solidFill>
                  <a:schemeClr val="tx1"/>
                </a:solidFill>
              </a:rPr>
              <a:t>CASP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179512" y="1679332"/>
            <a:ext cx="811213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2010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532" y="47298"/>
            <a:ext cx="5470634" cy="868363"/>
          </a:xfrm>
        </p:spPr>
        <p:txBody>
          <a:bodyPr>
            <a:noAutofit/>
          </a:bodyPr>
          <a:lstStyle/>
          <a:p>
            <a:r>
              <a:rPr lang="pt-BR" sz="2800" b="1" u="sng" dirty="0" smtClean="0">
                <a:solidFill>
                  <a:schemeClr val="tx1"/>
                </a:solidFill>
              </a:rPr>
              <a:t/>
            </a:r>
            <a:br>
              <a:rPr lang="pt-BR" sz="2800" b="1" u="sng" dirty="0" smtClean="0">
                <a:solidFill>
                  <a:schemeClr val="tx1"/>
                </a:solidFill>
              </a:rPr>
            </a:br>
            <a:r>
              <a:rPr lang="pt-BR" sz="2800" b="1" u="sng" dirty="0" smtClean="0">
                <a:solidFill>
                  <a:schemeClr val="tx1"/>
                </a:solidFill>
              </a:rPr>
              <a:t>PROCESSSOS</a:t>
            </a:r>
            <a:br>
              <a:rPr lang="pt-BR" sz="2800" b="1" u="sng" dirty="0" smtClean="0">
                <a:solidFill>
                  <a:schemeClr val="tx1"/>
                </a:solidFill>
              </a:rPr>
            </a:br>
            <a:endParaRPr lang="pt-BR" sz="2800" b="1" u="sng" dirty="0">
              <a:solidFill>
                <a:schemeClr val="tx1"/>
              </a:solidFill>
            </a:endParaRPr>
          </a:p>
        </p:txBody>
      </p:sp>
      <p:pic>
        <p:nvPicPr>
          <p:cNvPr id="8" name="Imagem 7" descr="BH-SLOGAN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275438" y="190807"/>
            <a:ext cx="2978938" cy="1586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96112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2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0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20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20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 bldLvl="5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-236490"/>
            <a:ext cx="4352544" cy="868363"/>
          </a:xfrm>
        </p:spPr>
        <p:txBody>
          <a:bodyPr>
            <a:normAutofit fontScale="90000"/>
          </a:bodyPr>
          <a:lstStyle/>
          <a:p>
            <a:r>
              <a:rPr lang="pt-BR" smtClean="0"/>
              <a:t/>
            </a:r>
            <a:br>
              <a:rPr lang="pt-BR" smtClean="0"/>
            </a:br>
            <a:r>
              <a:rPr lang="pt-BR" smtClean="0"/>
              <a:t>Planejamento das Ações 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idx="1"/>
          </p:nvPr>
        </p:nvSpPr>
        <p:spPr>
          <a:xfrm>
            <a:off x="219456" y="952231"/>
            <a:ext cx="8759952" cy="5413248"/>
          </a:xfrm>
        </p:spPr>
        <p:txBody>
          <a:bodyPr/>
          <a:lstStyle/>
          <a:p>
            <a:endParaRPr lang="pt-BR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78830" y="1033510"/>
            <a:ext cx="8351838" cy="4525963"/>
          </a:xfrm>
          <a:prstGeom prst="rect">
            <a:avLst/>
          </a:prstGeom>
          <a:ln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1725" y="1372460"/>
            <a:ext cx="8207375" cy="452596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6" name="CaixaDeTexto 5"/>
          <p:cNvSpPr txBox="1"/>
          <p:nvPr/>
        </p:nvSpPr>
        <p:spPr>
          <a:xfrm>
            <a:off x="514343" y="848205"/>
            <a:ext cx="1224136" cy="18466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3" name="CaixaDeTexto 2"/>
          <p:cNvSpPr txBox="1"/>
          <p:nvPr/>
        </p:nvSpPr>
        <p:spPr>
          <a:xfrm>
            <a:off x="70089" y="63341"/>
            <a:ext cx="35461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 smtClean="0">
                <a:latin typeface="Verdana" panose="020B0604030504040204" pitchFamily="34" charset="0"/>
              </a:rPr>
              <a:t>PLANEJAMENTO </a:t>
            </a:r>
            <a:endParaRPr lang="pt-BR" sz="2800" b="1" dirty="0">
              <a:latin typeface="Verdana" panose="020B0604030504040204" pitchFamily="34" charset="0"/>
            </a:endParaRPr>
          </a:p>
        </p:txBody>
      </p:sp>
      <p:pic>
        <p:nvPicPr>
          <p:cNvPr id="11" name="Imagem 10" descr="BH-SLOGAN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666957" y="95043"/>
            <a:ext cx="2502832" cy="1332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8111" y="1641135"/>
            <a:ext cx="8207375" cy="4525963"/>
          </a:xfrm>
          <a:prstGeom prst="rect">
            <a:avLst/>
          </a:prstGeom>
          <a:ln w="25400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51318" y="1971560"/>
            <a:ext cx="8351837" cy="4525963"/>
          </a:xfrm>
          <a:prstGeom prst="rect">
            <a:avLst/>
          </a:prstGeom>
          <a:ln w="25400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777140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47275" y="651123"/>
            <a:ext cx="8954835" cy="6247864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os Lançamentos Tributários;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a Dívida Ativa;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e Bens Móveis; 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e Bens Imóveis; 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os Almoxarifados; 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e Contratos e Convênios; 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Patrimonial da Folha de Pagamento; </a:t>
            </a:r>
          </a:p>
          <a:p>
            <a:pPr>
              <a:lnSpc>
                <a:spcPct val="200000"/>
              </a:lnSpc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da Dívida Fundada;</a:t>
            </a:r>
          </a:p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pa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de Apropriação Patrimonial das Empresas </a:t>
            </a:r>
            <a:endParaRPr lang="pt-BR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pt-B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pa de  Apropriação da Câmara Municipal </a:t>
            </a:r>
            <a:endParaRPr 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1" y="110362"/>
            <a:ext cx="5328745" cy="868363"/>
          </a:xfrm>
        </p:spPr>
        <p:txBody>
          <a:bodyPr>
            <a:normAutofit fontScale="90000"/>
          </a:bodyPr>
          <a:lstStyle/>
          <a:p>
            <a:r>
              <a:rPr lang="pt-BR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as </a:t>
            </a:r>
            <a:r>
              <a:rPr lang="pt-BR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Apropriação </a:t>
            </a:r>
            <a:r>
              <a:rPr lang="pt-BR" dirty="0" smtClean="0"/>
              <a:t>temas de interface </a:t>
            </a:r>
            <a:endParaRPr lang="pt-BR" dirty="0"/>
          </a:p>
        </p:txBody>
      </p:sp>
      <p:pic>
        <p:nvPicPr>
          <p:cNvPr id="6" name="Imagem 5" descr="BH-SLOGAN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426945" y="58987"/>
            <a:ext cx="2698423" cy="143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2812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 bldLvl="5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de cantos arredondados 11"/>
          <p:cNvSpPr/>
          <p:nvPr/>
        </p:nvSpPr>
        <p:spPr>
          <a:xfrm>
            <a:off x="124984" y="1563530"/>
            <a:ext cx="810195" cy="447433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glow rad="63500">
              <a:schemeClr val="accent6">
                <a:satMod val="175000"/>
                <a:alpha val="40000"/>
              </a:schemeClr>
            </a:glow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/>
          </a:p>
        </p:txBody>
      </p:sp>
      <p:sp>
        <p:nvSpPr>
          <p:cNvPr id="13" name="Pentagon 6"/>
          <p:cNvSpPr/>
          <p:nvPr>
            <p:custDataLst>
              <p:tags r:id="rId1"/>
            </p:custDataLst>
          </p:nvPr>
        </p:nvSpPr>
        <p:spPr>
          <a:xfrm>
            <a:off x="343241" y="1305365"/>
            <a:ext cx="1512000" cy="914400"/>
          </a:xfrm>
          <a:prstGeom prst="homePlate">
            <a:avLst>
              <a:gd name="adj" fmla="val 21429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3200" b="1" dirty="0">
                <a:solidFill>
                  <a:schemeClr val="tx1"/>
                </a:solidFill>
              </a:rPr>
              <a:t>CASP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125555" y="2365949"/>
            <a:ext cx="8096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rPr>
              <a:t>2011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125555" y="3300987"/>
            <a:ext cx="8096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2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25555" y="4328099"/>
            <a:ext cx="8096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3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125555" y="5371087"/>
            <a:ext cx="8096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4</a:t>
            </a:r>
          </a:p>
        </p:txBody>
      </p:sp>
      <p:sp>
        <p:nvSpPr>
          <p:cNvPr id="5" name="Retângulo 4"/>
          <p:cNvSpPr/>
          <p:nvPr/>
        </p:nvSpPr>
        <p:spPr>
          <a:xfrm>
            <a:off x="1946417" y="1141987"/>
            <a:ext cx="4264025" cy="193833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prstClr val="black"/>
                </a:solidFill>
                <a:latin typeface="Comic Sans MS" pitchFamily="66" charset="0"/>
              </a:rPr>
              <a:t>GRUPO DE TRABALHO PARA IMPLANTAÇÃO DA NOVA CONTABILIDADE APLICADA AO SETOR PÚBLICO - GTCASP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</a:rPr>
              <a:t> Decreto 14.468 de 29/06/2011</a:t>
            </a:r>
          </a:p>
        </p:txBody>
      </p:sp>
      <p:sp>
        <p:nvSpPr>
          <p:cNvPr id="10" name="Retângulo 9"/>
          <p:cNvSpPr/>
          <p:nvPr/>
        </p:nvSpPr>
        <p:spPr>
          <a:xfrm>
            <a:off x="2160730" y="1500762"/>
            <a:ext cx="4659312" cy="19399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prstClr val="black"/>
                </a:solidFill>
                <a:latin typeface="Comic Sans MS" pitchFamily="66" charset="0"/>
              </a:rPr>
              <a:t>CRIAÇÃO DE GERÊNCIAS PARA PROJETO CASP :</a:t>
            </a:r>
          </a:p>
          <a:p>
            <a:pPr marL="342900" indent="-34290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solidFill>
                  <a:prstClr val="black"/>
                </a:solidFill>
                <a:latin typeface="Comic Sans MS" pitchFamily="66" charset="0"/>
              </a:rPr>
              <a:t>GERENCIA DE 1º NÍVEL  </a:t>
            </a:r>
          </a:p>
          <a:p>
            <a:pPr marL="342900" indent="-34290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pt-BR" sz="1600" b="1" dirty="0">
                <a:solidFill>
                  <a:prstClr val="black"/>
                </a:solidFill>
                <a:latin typeface="Comic Sans MS" pitchFamily="66" charset="0"/>
              </a:rPr>
              <a:t>GERÊNCIA DE 2º NÍVEL 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u="sng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</a:rPr>
              <a:t>Decreto 14.585 /2011</a:t>
            </a:r>
          </a:p>
        </p:txBody>
      </p:sp>
      <p:sp>
        <p:nvSpPr>
          <p:cNvPr id="9" name="Retângulo 8"/>
          <p:cNvSpPr/>
          <p:nvPr/>
        </p:nvSpPr>
        <p:spPr>
          <a:xfrm>
            <a:off x="2637259" y="1871085"/>
            <a:ext cx="4346575" cy="156845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600" b="1" dirty="0">
                <a:solidFill>
                  <a:prstClr val="black"/>
                </a:solidFill>
                <a:latin typeface="Comic Sans MS" pitchFamily="66" charset="0"/>
              </a:rPr>
              <a:t>CONCURSO PÚBLICO PARA CONTRATAÇÃO DE 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solidFill>
                  <a:prstClr val="black"/>
                </a:solidFill>
                <a:latin typeface="Comic Sans MS" pitchFamily="66" charset="0"/>
              </a:rPr>
              <a:t>15  CONTADORES (ANALISTA FAZENDÁRIO) -  </a:t>
            </a:r>
            <a:r>
              <a:rPr lang="pt-BR" sz="1600" b="1" u="sng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</a:rPr>
              <a:t>2011/2013</a:t>
            </a:r>
          </a:p>
        </p:txBody>
      </p:sp>
      <p:sp>
        <p:nvSpPr>
          <p:cNvPr id="6" name="Retângulo 5"/>
          <p:cNvSpPr/>
          <p:nvPr/>
        </p:nvSpPr>
        <p:spPr>
          <a:xfrm>
            <a:off x="2636018" y="2111155"/>
            <a:ext cx="4789488" cy="166211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COMISSÃO DE BENS   -     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Definição de critérios para </a:t>
            </a:r>
            <a:r>
              <a:rPr lang="pt-BR" sz="1400" b="1" dirty="0" err="1">
                <a:solidFill>
                  <a:prstClr val="black"/>
                </a:solidFill>
                <a:latin typeface="Comic Sans MS" pitchFamily="66" charset="0"/>
              </a:rPr>
              <a:t>realiação</a:t>
            </a: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 e depreciação dos Bens - PORTARIA Nº 5.808/12 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200" b="1" dirty="0">
                <a:solidFill>
                  <a:prstClr val="black"/>
                </a:solidFill>
                <a:latin typeface="Comic Sans MS" pitchFamily="66" charset="0"/>
              </a:rPr>
              <a:t>Relatório –  Maio/2013 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Adequação Sistema SGBI e SISBEM</a:t>
            </a: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/>
          <a:srcRect/>
          <a:stretch>
            <a:fillRect/>
          </a:stretch>
        </p:blipFill>
        <p:spPr>
          <a:xfrm>
            <a:off x="3421239" y="2390264"/>
            <a:ext cx="4319587" cy="2141537"/>
          </a:xfrm>
          <a:solidFill>
            <a:schemeClr val="bg1">
              <a:lumMod val="85000"/>
            </a:schemeClr>
          </a:solidFill>
          <a:ln>
            <a:solidFill>
              <a:srgbClr val="0000FF"/>
            </a:solidFill>
          </a:ln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668434"/>
              </p:ext>
            </p:extLst>
          </p:nvPr>
        </p:nvGraphicFramePr>
        <p:xfrm>
          <a:off x="3319060" y="2724724"/>
          <a:ext cx="4824411" cy="1993902"/>
        </p:xfrm>
        <a:graphic>
          <a:graphicData uri="http://schemas.openxmlformats.org/drawingml/2006/table">
            <a:tbl>
              <a:tblPr firstRow="1" firstCol="1" bandRow="1"/>
              <a:tblGrid>
                <a:gridCol w="1512129"/>
                <a:gridCol w="1080092"/>
                <a:gridCol w="1152098"/>
                <a:gridCol w="1080092"/>
              </a:tblGrid>
              <a:tr h="4287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DÍVIDA ATIVA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ESTOQUE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Provisão para Perdas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SALDO 31/12/2013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Dívida Ativa de IPTU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1.410.122.217,64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 81.467.619,72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1.328.654.597,92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Dívida Ativa de ITBI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23.986.778,45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 13.954.752,82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  10.032.025,63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Dívida Ativa de ISSQN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2.896.305.704,47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 38.502.807,43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2.857.802.897,04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Outras Receitas Tributárias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522.344.147,16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 28.494.041,96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493.850.105,20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Dívida Ativa Não Tributária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1.727.532.745,62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1.591.542.425,06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135.990.320,56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2032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TOTAL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6.580.291.593,34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1.753.961.646,99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4.826.329.946,35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Conta do Ativo Financeiro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271.931.597,13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                     -  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   271.931.597,13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619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Conta do Ativo Permanente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6.308.359.996,21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1.753.961.646,99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4.554.398.349,22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22803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TOTAL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6.580.291.593,34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1.753.961.646,99 </a:t>
                      </a:r>
                      <a:endParaRPr lang="pt-BR" sz="10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8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   4.826.329.946,35 </a:t>
                      </a:r>
                      <a:endParaRPr lang="pt-BR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4449" marR="4444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19" name="Imagem 1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982" y="3013649"/>
            <a:ext cx="450215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748" y="3300987"/>
            <a:ext cx="4295775" cy="2065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Retângulo 21"/>
          <p:cNvSpPr/>
          <p:nvPr/>
        </p:nvSpPr>
        <p:spPr>
          <a:xfrm>
            <a:off x="4269493" y="3843587"/>
            <a:ext cx="4237333" cy="20313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 smtClean="0">
                <a:solidFill>
                  <a:prstClr val="black"/>
                </a:solidFill>
                <a:latin typeface="Comic Sans MS" pitchFamily="66" charset="0"/>
              </a:rPr>
              <a:t>CAPACITAÇÃO DOS </a:t>
            </a: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CONTADORES/SERVIDORES DA  </a:t>
            </a:r>
            <a:r>
              <a:rPr lang="pt-BR" sz="1400" b="1" dirty="0" smtClean="0">
                <a:solidFill>
                  <a:prstClr val="black"/>
                </a:solidFill>
                <a:latin typeface="Comic Sans MS" pitchFamily="66" charset="0"/>
              </a:rPr>
              <a:t>CONTADORIA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 smtClean="0">
                <a:solidFill>
                  <a:prstClr val="black"/>
                </a:solidFill>
                <a:latin typeface="Comic Sans MS" pitchFamily="66" charset="0"/>
              </a:rPr>
              <a:t>PARTICIPAÇÃO NAS REUNIÕES </a:t>
            </a: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DOS GRUPOS TÉCNICOS DE PROCEDIMENTOS CONTÁBEIS DA STN. </a:t>
            </a:r>
            <a:endParaRPr lang="pt-BR" sz="1400" b="1" u="sng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mic Sans MS" pitchFamily="66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40104" y="143958"/>
            <a:ext cx="49471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Evolução do Projeto  CASP </a:t>
            </a:r>
            <a:endParaRPr lang="pt-BR" sz="28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4455395" y="4326349"/>
            <a:ext cx="4319588" cy="170815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ADEQUAÇÃO DOS SISTEMAS</a:t>
            </a:r>
          </a:p>
          <a:p>
            <a:pPr marL="285750" indent="-285750"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PPP PARA DESENVOLVIMENTO 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prstClr val="black"/>
                </a:solidFill>
                <a:latin typeface="Comic Sans MS" pitchFamily="66" charset="0"/>
              </a:rPr>
              <a:t>DE NOVOS SISTEMAS DE GESTÃO (PATRIMÔNIO,RH,ORÇAMENTÁRIO) 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</a:rPr>
              <a:t>PROJETO SIG    </a:t>
            </a:r>
            <a:r>
              <a:rPr lang="pt-BR" sz="1400" b="1" u="sng" dirty="0" smtClean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itchFamily="66" charset="0"/>
              </a:rPr>
              <a:t>2013/2016</a:t>
            </a:r>
            <a:endParaRPr lang="pt-BR" sz="1400" b="1" u="sng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mic Sans MS" pitchFamily="66" charset="0"/>
            </a:endParaRPr>
          </a:p>
        </p:txBody>
      </p:sp>
      <p:pic>
        <p:nvPicPr>
          <p:cNvPr id="21" name="Imagem 20" descr="BH-SLOGAN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282001" y="140134"/>
            <a:ext cx="2959262" cy="1575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99071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2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2000" fill="hold"/>
                                        <p:tgtEl>
                                          <p:spTgt spid="103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 nodeType="clickPar">
                      <p:stCondLst>
                        <p:cond delay="indefinite"/>
                      </p:stCondLst>
                      <p:childTnLst>
                        <p:par>
                          <p:cTn id="7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9" grpId="0" animBg="1"/>
      <p:bldP spid="6" grpId="0" animBg="1"/>
      <p:bldP spid="22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mtClean="0"/>
              <a:t>Bens Móveis e Imóveis</a:t>
            </a:r>
            <a:endParaRPr lang="pt-BR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44" y="3913164"/>
            <a:ext cx="8242983" cy="2774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112" y="823025"/>
            <a:ext cx="8242983" cy="2910139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" name="CaixaDeTexto 2"/>
          <p:cNvSpPr txBox="1"/>
          <p:nvPr/>
        </p:nvSpPr>
        <p:spPr>
          <a:xfrm>
            <a:off x="33920" y="52390"/>
            <a:ext cx="25791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u="sng" dirty="0" smtClean="0"/>
              <a:t>ESTÁGIO ATUAL </a:t>
            </a:r>
            <a:endParaRPr lang="pt-BR" sz="2800" b="1" u="sng" dirty="0"/>
          </a:p>
        </p:txBody>
      </p:sp>
      <p:pic>
        <p:nvPicPr>
          <p:cNvPr id="7" name="Imagem 6" descr="BH-SLOGAN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10924">
            <a:off x="6675959" y="89371"/>
            <a:ext cx="2571782" cy="136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5148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rLm0BLBE2nEGO.cgjz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rLm0BLBE2nEGO.cgjz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rLm0BLBE2nEGO.cgjzw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</TotalTime>
  <Words>677</Words>
  <Application>Microsoft Office PowerPoint</Application>
  <PresentationFormat>Apresentação na tela (4:3)</PresentationFormat>
  <Paragraphs>161</Paragraphs>
  <Slides>18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19" baseType="lpstr"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 PROCESSSOS </vt:lpstr>
      <vt:lpstr> Planejamento das Ações </vt:lpstr>
      <vt:lpstr>Mapas de Apropriação temas de interface </vt:lpstr>
      <vt:lpstr>Apresentação do PowerPoint</vt:lpstr>
      <vt:lpstr>Bens Móveis e Imóveis</vt:lpstr>
      <vt:lpstr>Apresentação do PowerPoint</vt:lpstr>
      <vt:lpstr> Próximos Passos </vt:lpstr>
      <vt:lpstr>Principais Problemas </vt:lpstr>
      <vt:lpstr>Apresentação do PowerPoint</vt:lpstr>
      <vt:lpstr>CONTA CORRENTE</vt:lpstr>
      <vt:lpstr>Dados do modulo CASP </vt:lpstr>
      <vt:lpstr>Dados do modulo CASP </vt:lpstr>
      <vt:lpstr>Apropriação Pessoal  Regime de Competência</vt:lpstr>
      <vt:lpstr>Apresentação do PowerPoint</vt:lpstr>
    </vt:vector>
  </TitlesOfParts>
  <Company>THEMAZ COMUNICACA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UARDO C R VIANA</dc:creator>
  <cp:lastModifiedBy>LUCY FATIMA DE ASSIS FREITAS</cp:lastModifiedBy>
  <cp:revision>86</cp:revision>
  <dcterms:created xsi:type="dcterms:W3CDTF">2015-04-16T21:16:16Z</dcterms:created>
  <dcterms:modified xsi:type="dcterms:W3CDTF">2015-06-09T16:36:53Z</dcterms:modified>
</cp:coreProperties>
</file>